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7" r:id="rId2"/>
    <p:sldId id="260" r:id="rId3"/>
    <p:sldId id="262" r:id="rId4"/>
    <p:sldId id="261" r:id="rId5"/>
    <p:sldId id="263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tson Magnus" initials="KM" lastIdx="7" clrIdx="0">
    <p:extLst>
      <p:ext uri="{19B8F6BF-5375-455C-9EA6-DF929625EA0E}">
        <p15:presenceInfo xmlns:p15="http://schemas.microsoft.com/office/powerpoint/2012/main" userId="S-1-5-21-796845957-343818398-839522115-114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62" d="100"/>
          <a:sy n="62" d="100"/>
        </p:scale>
        <p:origin x="71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9-20T16:52:07.260" idx="7">
    <p:pos x="4866" y="1959"/>
    <p:text>finns nu utkast  se detta</p:text>
    <p:extLst>
      <p:ext uri="{C676402C-5697-4E1C-873F-D02D1690AC5C}">
        <p15:threadingInfo xmlns:p15="http://schemas.microsoft.com/office/powerpoint/2012/main" timeZoneBias="-1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2779CF-797F-4F84-9109-89567B881465}" type="datetimeFigureOut">
              <a:rPr lang="sv-SE" smtClean="0"/>
              <a:t>2023-12-1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67A1F1-33EB-448A-913B-98CA9464E5E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9590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8769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394047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960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493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900884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823957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110359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9238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30730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60985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883751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12-1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2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702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4775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Lung- och allergisjukdomar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>
                <a:solidFill>
                  <a:schemeClr val="bg1"/>
                </a:solidFill>
              </a:rPr>
            </a:br>
            <a:r>
              <a:rPr lang="sv-SE" sz="1400">
                <a:solidFill>
                  <a:schemeClr val="bg1"/>
                </a:solidFill>
              </a:rPr>
              <a:t>Uppdaterad vid möte 20231202</a:t>
            </a:r>
            <a:br>
              <a:rPr lang="sv-SE" sz="1400" dirty="0">
                <a:solidFill>
                  <a:schemeClr val="bg1"/>
                </a:solidFill>
              </a:rPr>
            </a:br>
            <a:br>
              <a:rPr lang="sv-SE" sz="14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30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376269"/>
              </p:ext>
            </p:extLst>
          </p:nvPr>
        </p:nvGraphicFramePr>
        <p:xfrm>
          <a:off x="1" y="113253"/>
          <a:ext cx="12191999" cy="720622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526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1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1231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82711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11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74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000" b="0" i="0" strike="sng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1 Få behandling inom tid som anges i standardiserade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vårdförlopp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lungcancer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vård som är lätt tillgänglig för kontakt, bedömning och besö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RPO ska arbeta med tillgängligheten till PET.  Bakgrund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100" i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PET kapaciteten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är undermålig i vissa delar inom sydöstra regionen (Östergötland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ch Kalmar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ska arbeta med att förkorta ledtiden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 </a:t>
                      </a:r>
                      <a:r>
                        <a:rPr lang="sv-SE" sz="1100" i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molekylärpatologi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om i dag är för lång gentemot angiven tid i vårdförloppet. Detsamma gäller tiden för</a:t>
                      </a:r>
                      <a: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vanliga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var från patologi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ser även över arbetssätt och interna processer för att ge stöd till förkortade tider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a utvecklingen av Kalmars arbete med NGS-analys för DNA/RNA (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parallellt istället för sekventiellt.).</a:t>
                      </a: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1" dirty="0">
                          <a:solidFill>
                            <a:srgbClr val="FF0000"/>
                          </a:solidFill>
                          <a:latin typeface="+mj-lt"/>
                        </a:rPr>
                        <a:t>Uppföljning: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j-lt"/>
                        </a:rPr>
                        <a:t> ange metod, kvalitetsindikatorer, </a:t>
                      </a:r>
                      <a:r>
                        <a:rPr lang="sv-SE" sz="1100" i="1" dirty="0" err="1">
                          <a:solidFill>
                            <a:srgbClr val="FF0000"/>
                          </a:solidFill>
                          <a:latin typeface="+mj-lt"/>
                        </a:rPr>
                        <a:t>målvärden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j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>
                        <a:latin typeface="+mj-lt"/>
                      </a:endParaRPr>
                    </a:p>
                    <a:p>
                      <a:r>
                        <a:rPr lang="sv-SE" sz="1100" i="0" dirty="0">
                          <a:latin typeface="+mj-lt"/>
                        </a:rPr>
                        <a:t>1 Mått för mätning finns att hämta i INCA.  </a:t>
                      </a:r>
                      <a:endParaRPr lang="sv-SE" sz="1100" i="0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  <a:p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Målvärde Nå rikssnitt för ledtider med bibehållen kvalitet.</a:t>
                      </a: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PET CT kommer att vara i bruk i Kalmar 2026.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 En utredning om ytterligare en PET CT på US pågår, tidplan oklar. </a:t>
                      </a:r>
                    </a:p>
                    <a:p>
                      <a:b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Molekylär patologi. Under 2023 genomfördes ett regionalt lungcancermöte som berörde föreställningarna under aktiviteter. Samma frågeställningar blir aktuella att arbeta med under 2024. </a:t>
                      </a:r>
                      <a:endParaRPr lang="sv-SE" sz="1100" i="0" dirty="0">
                        <a:latin typeface="+mj-lt"/>
                      </a:endParaRPr>
                    </a:p>
                    <a:p>
                      <a:endParaRPr lang="sv-SE" sz="1100" i="0" baseline="0" dirty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100" i="0" strike="noStrike" baseline="0" dirty="0">
                          <a:solidFill>
                            <a:schemeClr val="bg2"/>
                          </a:solidFill>
                          <a:latin typeface="+mj-lt"/>
                        </a:rPr>
                        <a:t> 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703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2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Vårdprogram </a:t>
                      </a:r>
                      <a:r>
                        <a:rPr lang="sv-SE" sz="11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vpg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Lungcancer publicerad våren 2023, RPO tagit sig an införande from juli 202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Öka följsamhet till </a:t>
                      </a:r>
                      <a:r>
                        <a:rPr lang="sv-SE" sz="11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vpg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lungcancer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diagnostik och behandling enligt bästa kunskap i varje mö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Få tillgång till patientsäker. Erbjudas kostnadseffektiv vår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Varje region arbetar med att förbättra registrering av </a:t>
                      </a:r>
                      <a:r>
                        <a:rPr lang="sv-SE" sz="110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givna parametrar/kvalitetsindikatorer av 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lungcancer ansvarar att rapportera till RPO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jukvårdsregional anpassning av </a:t>
                      </a:r>
                      <a:r>
                        <a:rPr lang="sv-SE" sz="110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har skett oktober och november 2023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dirty="0">
                          <a:latin typeface="+mj-lt"/>
                        </a:rPr>
                        <a:t>2 INCA data inkl. IPÖ.</a:t>
                      </a:r>
                      <a:r>
                        <a:rPr lang="sv-SE" sz="1100" i="0" baseline="0" dirty="0">
                          <a:latin typeface="+mj-lt"/>
                        </a:rPr>
                        <a:t> </a:t>
                      </a:r>
                      <a:r>
                        <a:rPr lang="sv-SE" sz="1100" i="0" dirty="0">
                          <a:latin typeface="+mj-lt"/>
                        </a:rPr>
                        <a:t> Vi följer</a:t>
                      </a:r>
                      <a:r>
                        <a:rPr lang="sv-SE" sz="1100" i="0" baseline="0" dirty="0">
                          <a:latin typeface="+mj-lt"/>
                        </a:rPr>
                        <a:t> kvalitetsindikatorer och överlevnad 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kontinuerligt. Inrapporteringstakt är sen vilket försvårar översikt i realtid?  </a:t>
                      </a: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RAG lungcancer återrapporterar till RPO lungmedicin </a:t>
                      </a: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Uppdatering regional av färsk vårdprogram nov 2023 med genomgång på regionalt RCC möte 16 okt Nässjö</a:t>
                      </a:r>
                    </a:p>
                    <a:p>
                      <a:pPr marL="0" indent="0">
                        <a:buNone/>
                      </a:pPr>
                      <a:endParaRPr lang="sv-SE" sz="1100" i="0" strike="noStrike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746604"/>
                  </a:ext>
                </a:extLst>
              </a:tr>
              <a:tr h="1521703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n-lt"/>
                        </a:rPr>
                        <a:t>.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Använda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Min vårdplan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cancer vid varje möte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Vara välinformerade och delaktiga genom hela vårdkedjan </a:t>
                      </a: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RPO kommer under 2024 att följa upp i vilken omfattning Min vårdplan har använts. I arbetet tar RPO stöd av den SVF-data som finns tillgänglig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i="0" baseline="0" dirty="0">
                        <a:latin typeface="+mj-lt"/>
                      </a:endParaRP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3 Mäta och implementera min vårdplan sker å bred front i SÖ</a:t>
                      </a:r>
                    </a:p>
                    <a:p>
                      <a:pPr marL="0" indent="0">
                        <a:buNone/>
                      </a:pPr>
                      <a:endParaRPr lang="sv-SE" sz="1100" i="0" strike="noStrike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855711"/>
                  </a:ext>
                </a:extLst>
              </a:tr>
            </a:tbl>
          </a:graphicData>
        </a:graphic>
      </p:graphicFrame>
      <p:sp>
        <p:nvSpPr>
          <p:cNvPr id="15" name="Ellips 14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97862" y="1365392"/>
            <a:ext cx="294593" cy="28803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  <p:sp>
        <p:nvSpPr>
          <p:cNvPr id="11" name="Ellips 10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452525" y="1363091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605F9DA8-066A-3D9F-7BC5-1F9EF6A5E879}"/>
              </a:ext>
            </a:extLst>
          </p:cNvPr>
          <p:cNvSpPr/>
          <p:nvPr/>
        </p:nvSpPr>
        <p:spPr>
          <a:xfrm flipV="1">
            <a:off x="11585852" y="5497816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E0F34CB7-C49D-E8E9-882E-B589D43B2ADE}"/>
              </a:ext>
            </a:extLst>
          </p:cNvPr>
          <p:cNvSpPr/>
          <p:nvPr/>
        </p:nvSpPr>
        <p:spPr>
          <a:xfrm flipV="1">
            <a:off x="11514375" y="3893426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079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3718115"/>
              </p:ext>
            </p:extLst>
          </p:nvPr>
        </p:nvGraphicFramePr>
        <p:xfrm>
          <a:off x="1" y="112075"/>
          <a:ext cx="12191999" cy="68700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6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82835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664603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671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2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</a:rPr>
                        <a:t>(sid 2)</a:t>
                      </a:r>
                    </a:p>
                    <a:p>
                      <a:endParaRPr lang="sv-SE" sz="1200" b="1" i="0" baseline="0" dirty="0">
                        <a:solidFill>
                          <a:srgbClr val="FF0000"/>
                        </a:solidFill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100" b="0" i="1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=RCC kriterier</a:t>
                      </a:r>
                      <a:endParaRPr lang="sv-SE" sz="1100" b="0" i="0" strike="sng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4.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Ojämlik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 tillgång och i kvalitet till palliativ vård har identifierats. Lokal variation beroende på bostadsort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  <a:endParaRPr lang="sv-SE" sz="105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 – RPO ska vaddå ? för att arbeta med denna variatio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ilken tillgänglig data finns som stöd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ar andra RPO identifierat samma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1" dirty="0">
                          <a:solidFill>
                            <a:srgbClr val="FF0000"/>
                          </a:solidFill>
                          <a:latin typeface="+mn-lt"/>
                        </a:rPr>
                        <a:t>Uppföljning: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n-lt"/>
                        </a:rPr>
                        <a:t> ange metod, kvalitetsindikatorer, </a:t>
                      </a:r>
                      <a:r>
                        <a:rPr lang="sv-SE" sz="1100" i="1" dirty="0" err="1">
                          <a:solidFill>
                            <a:srgbClr val="FF0000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endParaRPr lang="sv-SE" sz="1100" i="0" baseline="0" dirty="0">
                        <a:latin typeface="+mn-lt"/>
                      </a:endParaRP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4 Hur ska vi följa detta</a:t>
                      </a: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100" i="0" strike="noStrike" baseline="0" dirty="0">
                          <a:solidFill>
                            <a:schemeClr val="bg2"/>
                          </a:solidFill>
                          <a:latin typeface="+mn-lt"/>
                        </a:rPr>
                        <a:t>  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6492">
                <a:tc>
                  <a:txBody>
                    <a:bodyPr/>
                    <a:lstStyle/>
                    <a:p>
                      <a:pPr algn="l"/>
                      <a:endParaRPr lang="sv-SE" sz="6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5 A. RPO har implementerat checklista vid cancerrehabilitering, vilken används i hög grad. Kan RPO använda motsvarande som stöd för planering inför operation, så kallad prehabilitering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5 B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cancer screening pilotprojekt pågår i Sverige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 A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Kan RPO använda checklista för cancerrehabilitering som stöd för planering inför operation, så kallad prehabilitering? Ska annat RPO involveras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B Följa arbetet av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cancerscreening pilotprojekt som pågår nationellt. Följa arbetet som sjukvårdsregionalt som hanteras av RCC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baseline="0" dirty="0">
                          <a:latin typeface="+mj-lt"/>
                        </a:rPr>
                        <a:t>RAG lungcancer tillsammans med RCC påbörjar förberedande arbete kring screening . Möte planerat vintern 2023/2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Även följa resultatet av studierna som pågår i Stockholm, Västra Götaland och Norrbotte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latin typeface="+mj-lt"/>
                        </a:rPr>
                        <a:t>5 A  Vilken data ska användas? </a:t>
                      </a: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21720"/>
                  </a:ext>
                </a:extLst>
              </a:tr>
              <a:tr h="1657989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6. RPO har identifierat att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lera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läkemedelsstudier bedrivs, men att fler patienter utanför Linköping bör erbjudas deltagande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Regionalt cancercentrum sydöst ska prioritera patientnära forskning inom cancerområd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  Vid 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tt </a:t>
                      </a:r>
                      <a:r>
                        <a:rPr lang="sv-SE" sz="1100" i="0" baseline="0" dirty="0">
                          <a:latin typeface="+mj-lt"/>
                        </a:rPr>
                        <a:t>regionalt lungcancermöte med RCC framhölls att studier inom lungcancer för såväl akademiska studier  som vid läkemedelsforskning enligt ” Nässjöavtal” samt gemensam FOU för sjuksköterskor behöver öka inom SÖSR.</a:t>
                      </a: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latin typeface="+mj-lt"/>
                        </a:rPr>
                        <a:t>6  Hur ska vi följa detta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273928"/>
                  </a:ext>
                </a:extLst>
              </a:tr>
            </a:tbl>
          </a:graphicData>
        </a:graphic>
      </p:graphicFrame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67084" y="5280283"/>
            <a:ext cx="307247" cy="3132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568011" y="2665245"/>
            <a:ext cx="306320" cy="3132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C8797251-0334-2EE3-9178-854C040E0214}"/>
              </a:ext>
            </a:extLst>
          </p:cNvPr>
          <p:cNvSpPr/>
          <p:nvPr/>
        </p:nvSpPr>
        <p:spPr>
          <a:xfrm flipV="1">
            <a:off x="11568011" y="3921503"/>
            <a:ext cx="306320" cy="3132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6BC8F04A-DF40-EFD4-08E7-C19A28935EE2}"/>
              </a:ext>
            </a:extLst>
          </p:cNvPr>
          <p:cNvSpPr/>
          <p:nvPr/>
        </p:nvSpPr>
        <p:spPr>
          <a:xfrm>
            <a:off x="11562003" y="1557134"/>
            <a:ext cx="307247" cy="3132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8167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241455"/>
              </p:ext>
            </p:extLst>
          </p:nvPr>
        </p:nvGraphicFramePr>
        <p:xfrm>
          <a:off x="-8541" y="58723"/>
          <a:ext cx="12200541" cy="469833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165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47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742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3124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93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9458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Viland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627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ungfibros</a:t>
                      </a:r>
                    </a:p>
                    <a:p>
                      <a:pPr algn="l"/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årdförlopp NAG lungfibros går ut på remiss 15 nov 2023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diagnostik och behandling och uppföljning enligt bästa kunskap i varje möt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ytt vårdförlopp NAG lungfibro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Uppdraget är att arbeta fram ett vårdförlopp för lungfibro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mplementera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NAG lungfibros arbe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t inleds när en patient uppvisar symtom på </a:t>
                      </a:r>
                      <a:r>
                        <a:rPr lang="sv-SE" sz="1200" i="0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erstitiell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jukdom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vårdförloppet ingår utredning, diagnos, behandling och uppfölj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avvaktan på NAG lungfibros resultat upprätta strukturerad ILD mottagning inom alla län i regione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tagningsmall och gemensam  mall för checklisto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onal ILD rond ht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lungfibros blir klart under 2024. Hur ska vi implementera detta?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DK regional starta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21 okt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mäter vi? Registerdeltagande i regionen?  KBILD?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 reuma/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ond JKPG  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ma mallar för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provtagnings pågår.</a:t>
                      </a: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följer vi upp?  Öka registerdeltagande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1250" y="2840315"/>
            <a:ext cx="284324" cy="300271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6368" y="3970545"/>
            <a:ext cx="282696" cy="300271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523997" y="3378529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275599DA-8CD9-48BD-5160-74B7413E77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7096" y="2244942"/>
            <a:ext cx="292633" cy="292633"/>
          </a:xfrm>
          <a:prstGeom prst="rect">
            <a:avLst/>
          </a:prstGeom>
        </p:spPr>
      </p:pic>
      <p:sp>
        <p:nvSpPr>
          <p:cNvPr id="5" name="Ellips 4">
            <a:extLst>
              <a:ext uri="{FF2B5EF4-FFF2-40B4-BE49-F238E27FC236}">
                <a16:creationId xmlns:a16="http://schemas.microsoft.com/office/drawing/2014/main" id="{2A5E05BA-6FE5-E662-4BB2-12495050898B}"/>
              </a:ext>
            </a:extLst>
          </p:cNvPr>
          <p:cNvSpPr/>
          <p:nvPr/>
        </p:nvSpPr>
        <p:spPr>
          <a:xfrm>
            <a:off x="11758464" y="3968147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06059193-8816-DA67-255D-BD4C99072D71}"/>
              </a:ext>
            </a:extLst>
          </p:cNvPr>
          <p:cNvSpPr/>
          <p:nvPr/>
        </p:nvSpPr>
        <p:spPr>
          <a:xfrm>
            <a:off x="11516115" y="1690909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911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221247"/>
              </p:ext>
            </p:extLst>
          </p:nvPr>
        </p:nvGraphicFramePr>
        <p:xfrm>
          <a:off x="8389" y="133498"/>
          <a:ext cx="12183610" cy="37338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3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95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Viland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lergi</a:t>
                      </a:r>
                    </a:p>
                    <a:p>
                      <a:pPr algn="l"/>
                      <a:r>
                        <a:rPr lang="sv-SE" sz="9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Som patient i Sydöstra sjukvårdsregionen ska du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Svår astma (best </a:t>
                      </a:r>
                      <a:r>
                        <a:rPr lang="sv-SE" sz="12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practice</a:t>
                      </a: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Tillgänglighet till SL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NPO Matallergi 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8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Läkemedelsallergi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Saknar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standadiserade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remissrutiner för att kunna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triagera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och bedöma behov. Nuläget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påvekar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tillgängligheten till allergolog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 fram och implementera riktlinjer för biologisk läkemedelsbehandling vid svår astma 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fterforska möjlighet till SLIT inom primärvården.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vänta NAG matallergi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all och information till primärvården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lm allergi(Kalmar)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okument framtaget.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mplementerin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pågår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förande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av luftvägsregister på alla sjukhus där behandling sker med biologiska läkemedel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ågår. Återkoppling via RAG allergi till RPO lungmedicin-allergi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v </a:t>
                      </a:r>
                      <a:r>
                        <a:rPr lang="sv-SE" sz="1200" b="0" i="0" baseline="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?</a:t>
                      </a:r>
                      <a:endParaRPr lang="sv-SE" sz="1200" b="0" i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CE9ED55-E540-504F-BAF1-2E5E322456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1621" y="3121721"/>
            <a:ext cx="292633" cy="292633"/>
          </a:xfrm>
          <a:prstGeom prst="rect">
            <a:avLst/>
          </a:prstGeom>
        </p:spPr>
      </p:pic>
      <p:sp>
        <p:nvSpPr>
          <p:cNvPr id="3" name="Ellips 2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428203" y="2447678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Ellips 12">
            <a:extLst>
              <a:ext uri="{FF2B5EF4-FFF2-40B4-BE49-F238E27FC236}">
                <a16:creationId xmlns:a16="http://schemas.microsoft.com/office/drawing/2014/main" id="{EE075B53-6E01-BEF1-0863-D4F9992FB7FE}"/>
              </a:ext>
            </a:extLst>
          </p:cNvPr>
          <p:cNvSpPr/>
          <p:nvPr/>
        </p:nvSpPr>
        <p:spPr>
          <a:xfrm>
            <a:off x="11415298" y="3128492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5776" y="2435439"/>
            <a:ext cx="284324" cy="300271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554563" y="1729636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689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363</TotalTime>
  <Words>1086</Words>
  <Application>Microsoft Office PowerPoint</Application>
  <PresentationFormat>Bredbild</PresentationFormat>
  <Paragraphs>177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1" baseType="lpstr">
      <vt:lpstr>Arial</vt:lpstr>
      <vt:lpstr>Calibri</vt:lpstr>
      <vt:lpstr>Graphik</vt:lpstr>
      <vt:lpstr>Times New Roman</vt:lpstr>
      <vt:lpstr>1_Office-tema</vt:lpstr>
      <vt:lpstr>think-cell Slide</vt:lpstr>
      <vt:lpstr>RPO Lung- och allergisjukdomar  Översiktlig handlingsplan för 2024  Uppdaterad vid möte 20231202  </vt:lpstr>
      <vt:lpstr>PowerPoint-presentation</vt:lpstr>
      <vt:lpstr>PowerPoint-presentation</vt:lpstr>
      <vt:lpstr>PowerPoint-presentation</vt:lpstr>
      <vt:lpstr>PowerPoint-presentation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entson Magnus</dc:creator>
  <cp:lastModifiedBy>Gunilla Persson</cp:lastModifiedBy>
  <cp:revision>18</cp:revision>
  <dcterms:created xsi:type="dcterms:W3CDTF">2023-09-22T11:18:51Z</dcterms:created>
  <dcterms:modified xsi:type="dcterms:W3CDTF">2023-12-13T08:33:01Z</dcterms:modified>
</cp:coreProperties>
</file>